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7" r:id="rId2"/>
    <p:sldId id="258" r:id="rId3"/>
    <p:sldId id="259" r:id="rId4"/>
    <p:sldId id="265" r:id="rId5"/>
    <p:sldId id="266" r:id="rId6"/>
    <p:sldId id="261" r:id="rId7"/>
    <p:sldId id="262" r:id="rId8"/>
    <p:sldId id="263" r:id="rId9"/>
    <p:sldId id="268" r:id="rId10"/>
    <p:sldId id="264" r:id="rId11"/>
    <p:sldId id="260" r:id="rId12"/>
    <p:sldId id="271" r:id="rId13"/>
    <p:sldId id="269" r:id="rId14"/>
    <p:sldId id="270" r:id="rId15"/>
  </p:sldIdLst>
  <p:sldSz cx="9144000" cy="6858000" type="screen4x3"/>
  <p:notesSz cx="6858000" cy="9144000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00C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vertBarState="maximized">
    <p:restoredLeft sz="34587" autoAdjust="0"/>
    <p:restoredTop sz="91264" autoAdjust="0"/>
  </p:normalViewPr>
  <p:slideViewPr>
    <p:cSldViewPr>
      <p:cViewPr varScale="1">
        <p:scale>
          <a:sx n="106" d="100"/>
          <a:sy n="106" d="100"/>
        </p:scale>
        <p:origin x="-1728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F16324-3DBB-4281-8204-A7230290A1F5}" type="datetimeFigureOut">
              <a:rPr lang="ru-RU" smtClean="0"/>
              <a:pPr/>
              <a:t>26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9FC1CA-7326-4F47-99AE-BDA2EE25350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83161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613266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30" name="think-cell Slide" r:id="rId10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371600" y="3357562"/>
            <a:ext cx="6400800" cy="1752600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DE4843-E538-46F5-B943-30CBD65D15E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A9CD6-2798-477A-8450-27040AC8F0A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 rotWithShape="1">
          <a:blip r:embed="rId11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791" t="1004"/>
          <a:stretch/>
        </p:blipFill>
        <p:spPr bwMode="auto">
          <a:xfrm>
            <a:off x="-1" y="52636"/>
            <a:ext cx="9144001" cy="6629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318" t="32134" r="68806" b="59938"/>
          <a:stretch/>
        </p:blipFill>
        <p:spPr bwMode="auto">
          <a:xfrm>
            <a:off x="400138" y="404664"/>
            <a:ext cx="2659694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7177" t="11456" r="85646" b="81641"/>
          <a:stretch/>
        </p:blipFill>
        <p:spPr bwMode="auto">
          <a:xfrm>
            <a:off x="7668344" y="358475"/>
            <a:ext cx="1008112" cy="606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7246112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7D441A-B1BF-46D0-B4C1-CDD34223FF0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AF9B7-D649-4E71-BED6-6DCAFF949AE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257276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285F20-4A1E-4074-A323-A30EA406B4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D3BD94-2938-4C2A-A617-5257356E812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40439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1A5A69-9AC9-4957-A0A6-555033FE501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50197B-B2DA-4CBD-97D2-8657874A9FC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28942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051F8D-5159-49F5-9ED1-F430DB95C19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584F4D-3C69-463C-BA08-18E9D15E91D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932622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E68EE7-815C-4337-AAA4-F9E46AD2A75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23532D-B79B-419C-8885-87074581DBC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04717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23C8BC-A9B9-430C-8C8C-27141284745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4ED25D-D80A-44E5-AE67-0EC6F80A8EB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389590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F2C999-6757-4F94-A80B-1C1A89714D8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78DB5B-3AD9-4C83-984B-AFE54AB476F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83964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7D318F-B24F-421F-9AE9-5A9259D1A8F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8BB797-46FB-4048-B7CD-AD2A39DCD22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298147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7EC08C-BB30-49CA-B622-91770DAAAC4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772816-96F1-4192-BD81-D4B82DABD51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783133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16B420-A823-4477-81B9-5960678CFA6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2CB35C-A2C7-4490-8224-5ABDA53887B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414078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2785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A8D898B-7934-486B-B236-C4A1E925B0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27856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2785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FA64AC2-6F0B-4B70-9702-C7ADDC1C488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8561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ctrTitle"/>
          </p:nvPr>
        </p:nvSpPr>
        <p:spPr>
          <a:xfrm>
            <a:off x="1259632" y="1773238"/>
            <a:ext cx="7126287" cy="2663825"/>
          </a:xfrm>
        </p:spPr>
        <p:txBody>
          <a:bodyPr/>
          <a:lstStyle/>
          <a:p>
            <a:pPr eaLnBrk="1" hangingPunct="1"/>
            <a:r>
              <a:rPr lang="ru-RU" altLang="ru-RU" sz="36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Дополнительная общеобразовательная программа </a:t>
            </a:r>
            <a:br>
              <a:rPr lang="ru-RU" altLang="ru-RU" sz="36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</a:br>
            <a:r>
              <a:rPr lang="ru-RU" altLang="ru-RU" sz="36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«АВТОЗАВОД БУДУЩЕГО»</a:t>
            </a:r>
          </a:p>
        </p:txBody>
      </p:sp>
      <p:sp>
        <p:nvSpPr>
          <p:cNvPr id="409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428992" y="5357826"/>
            <a:ext cx="2714625" cy="423862"/>
          </a:xfrm>
        </p:spPr>
        <p:txBody>
          <a:bodyPr/>
          <a:lstStyle/>
          <a:p>
            <a:pPr eaLnBrk="1" hangingPunct="1"/>
            <a:r>
              <a:rPr lang="ru-RU" altLang="ru-RU" sz="20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2017</a:t>
            </a:r>
          </a:p>
        </p:txBody>
      </p:sp>
    </p:spTree>
    <p:extLst>
      <p:ext uri="{BB962C8B-B14F-4D97-AF65-F5344CB8AC3E}">
        <p14:creationId xmlns="" xmlns:p14="http://schemas.microsoft.com/office/powerpoint/2010/main" val="302078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4"/>
          <p:cNvSpPr>
            <a:spLocks noChangeArrowheads="1"/>
          </p:cNvSpPr>
          <p:nvPr/>
        </p:nvSpPr>
        <p:spPr bwMode="auto">
          <a:xfrm>
            <a:off x="2000232" y="428604"/>
            <a:ext cx="5143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ОКРУЖНОЙ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ОНКУРС «МОЛОДОЙ ИЗОБРЕТАТЕЛЬ» </a:t>
            </a:r>
            <a:endParaRPr lang="ru-RU" dirty="0"/>
          </a:p>
        </p:txBody>
      </p:sp>
      <p:sp>
        <p:nvSpPr>
          <p:cNvPr id="18435" name="Rectangle 5"/>
          <p:cNvSpPr>
            <a:spLocks noChangeArrowheads="1"/>
          </p:cNvSpPr>
          <p:nvPr/>
        </p:nvSpPr>
        <p:spPr bwMode="auto">
          <a:xfrm>
            <a:off x="0" y="45720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endParaRPr lang="ru-RU"/>
          </a:p>
        </p:txBody>
      </p:sp>
      <p:pic>
        <p:nvPicPr>
          <p:cNvPr id="18436" name="Рисунок 12" descr="C:\Users\скат\Desktop\статьи на сайт\МОЛОДОЙ ИЗОБРЕТАТЕЛЬ\МОЛОДОЙ ИЗОБРЕТАТЕЛЬ СТАТЬЯ И ФОТО НА САЙТ\20171123_110716_resized.jpg"/>
          <p:cNvPicPr>
            <a:picLocks noChangeAspect="1" noChangeArrowheads="1"/>
          </p:cNvPicPr>
          <p:nvPr/>
        </p:nvPicPr>
        <p:blipFill>
          <a:blip r:embed="rId2"/>
          <a:srcRect t="28748"/>
          <a:stretch>
            <a:fillRect/>
          </a:stretch>
        </p:blipFill>
        <p:spPr bwMode="auto">
          <a:xfrm>
            <a:off x="2000232" y="1000108"/>
            <a:ext cx="1928813" cy="264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7" name="Рисунок 13" descr="C:\Users\скат\Desktop\статьи на сайт\МОЛОДОЙ ИЗОБРЕТАТЕЛЬ\МОЛОДОЙ ИЗОБРЕТАТЕЛЬ СТАТЬЯ И ФОТО НА САЙТ\20171123_111420_resized.jpg"/>
          <p:cNvPicPr>
            <a:picLocks noChangeAspect="1" noChangeArrowheads="1"/>
          </p:cNvPicPr>
          <p:nvPr/>
        </p:nvPicPr>
        <p:blipFill>
          <a:blip r:embed="rId3"/>
          <a:srcRect b="15646"/>
          <a:stretch>
            <a:fillRect/>
          </a:stretch>
        </p:blipFill>
        <p:spPr bwMode="auto">
          <a:xfrm>
            <a:off x="5715008" y="1000108"/>
            <a:ext cx="2143125" cy="257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8" name="Рисунок 14" descr="C:\Users\скат\Desktop\статьи на сайт\МОЛОДОЙ ИЗОБРЕТАТЕЛЬ\МОЛОДОЙ ИЗОБРЕТАТЕЛЬ СТАТЬЯ И ФОТО НА САЙТ\IMG-49dd3d44f149bc356dff6f30b1bed7fe-V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214414" y="3786190"/>
            <a:ext cx="3336925" cy="249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9" name="Рисунок 15" descr="C:\Users\скат\Desktop\статьи на сайт\МОЛОДОЙ ИЗОБРЕТАТЕЛЬ\МОЛОДОЙ ИЗОБРЕТАТЕЛЬ СТАТЬЯ И ФОТО НА САЙТ\IMG-d2b999e526c41e14aaafdf8984da3d56-V_resize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214942" y="3786190"/>
            <a:ext cx="3429000" cy="247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randomBar dir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000232" y="357166"/>
            <a:ext cx="5143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ДОСТИЖЕНИЯ  И РЕЗУЛЬТАТЫ ПРОЕКТА (п. </a:t>
            </a:r>
            <a:r>
              <a:rPr lang="ru-RU" sz="1400" b="1" dirty="0" err="1" smtClean="0">
                <a:latin typeface="Times New Roman" pitchFamily="18" charset="0"/>
                <a:cs typeface="Times New Roman" pitchFamily="18" charset="0"/>
              </a:rPr>
              <a:t>Луговской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dirty="0"/>
          </a:p>
        </p:txBody>
      </p:sp>
      <p:sp>
        <p:nvSpPr>
          <p:cNvPr id="25601" name="Rectangle 1"/>
          <p:cNvSpPr>
            <a:spLocks noChangeArrowheads="1"/>
          </p:cNvSpPr>
          <p:nvPr/>
        </p:nvSpPr>
        <p:spPr bwMode="auto">
          <a:xfrm>
            <a:off x="0" y="714356"/>
            <a:ext cx="9273949" cy="5016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езультатом практической деятельности участников лагерных смены стали </a:t>
            </a: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зработанные и созданные модели машин  для нужд различных отраслей производства региона. 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ля определения лучших автомоделей была организованна конкурсная защита </a:t>
            </a:r>
            <a:r>
              <a:rPr kumimoji="0" lang="ru-RU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втопроектов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. </a:t>
            </a: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2400" b="1" dirty="0" smtClean="0">
              <a:solidFill>
                <a:srgbClr val="FF0000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I</a:t>
            </a:r>
            <a:r>
              <a:rPr kumimoji="0" lang="en-US" sz="24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место</a:t>
            </a: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- 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нструкторское бюро №3 в составе </a:t>
            </a:r>
            <a:r>
              <a:rPr kumimoji="0" lang="ru-RU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Мадины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жентемировой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, Полины Хомяковой, </a:t>
            </a: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ойка Даниила, Юдина Константина и Владимира </a:t>
            </a:r>
            <a:r>
              <a:rPr kumimoji="0" lang="ru-RU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угаевского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. </a:t>
            </a: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ебята представили </a:t>
            </a:r>
            <a:r>
              <a:rPr kumimoji="0" lang="ru-RU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втопроект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для перевозки большой семьи 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pitchFamily="18" charset="0"/>
                <a:cs typeface="Times New Roman" pitchFamily="18" charset="0"/>
              </a:rPr>
              <a:t>«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ом на колесах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pitchFamily="18" charset="0"/>
                <a:cs typeface="Times New Roman" pitchFamily="18" charset="0"/>
              </a:rPr>
              <a:t>»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. 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II </a:t>
            </a: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место</a:t>
            </a:r>
            <a:r>
              <a:rPr lang="ru-RU" sz="11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en-US" sz="11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-  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нструкторское бюро №2 в составе Ивана Акиньшина, Бэлы </a:t>
            </a:r>
            <a:r>
              <a:rPr kumimoji="0" lang="ru-RU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жентемировой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, 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шелева Сергея, Иванова Дмитрия  за проект 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pitchFamily="18" charset="0"/>
                <a:cs typeface="Times New Roman" pitchFamily="18" charset="0"/>
              </a:rPr>
              <a:t>«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A</a:t>
            </a:r>
            <a:r>
              <a:rPr kumimoji="0" lang="ru-RU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vto-cleaning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pitchFamily="18" charset="0"/>
                <a:cs typeface="Times New Roman" pitchFamily="18" charset="0"/>
              </a:rPr>
              <a:t>»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. Ребята создали 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оботизированную и автоматизированную модель автомобиля для </a:t>
            </a: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бслуживания дорог и обочин от мусора и загрязнений. 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III </a:t>
            </a: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место</a:t>
            </a:r>
            <a:r>
              <a:rPr lang="en-US" sz="2400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- </a:t>
            </a:r>
            <a:r>
              <a:rPr lang="ru-RU" sz="2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нструкторское бюро №1 в составе Кузнецовой Юли, Мастерских Анастасии, 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ru-RU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Еленчук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Артёма. Ребята создали </a:t>
            </a:r>
            <a:r>
              <a:rPr kumimoji="0" lang="ru-RU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втопроект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pitchFamily="18" charset="0"/>
                <a:cs typeface="Times New Roman" pitchFamily="18" charset="0"/>
              </a:rPr>
              <a:t>«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втобус 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pitchFamily="18" charset="0"/>
                <a:cs typeface="Times New Roman" pitchFamily="18" charset="0"/>
              </a:rPr>
              <a:t>«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ассиопея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pitchFamily="18" charset="0"/>
                <a:cs typeface="Times New Roman" pitchFamily="18" charset="0"/>
              </a:rPr>
              <a:t>»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- двухэтажный автобус с 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массажными креслами во избежание усталости и утомленности на дальних </a:t>
            </a: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сстояниях с автоматизированной очисткой обуви и </a:t>
            </a:r>
            <a:r>
              <a:rPr kumimoji="0" lang="ru-RU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па-Салоном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.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73792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000232" y="357166"/>
            <a:ext cx="5143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ДОСТИЖЕНИЯ  И РЕЗУЛЬТАТЫ ПРОЕКТА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642910" y="928670"/>
            <a:ext cx="8001056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0000CC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НДИВИДУАЛЬНЫЕ ПРОЕКТЫ </a:t>
            </a: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 smtClean="0"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иплом </a:t>
            </a:r>
            <a:r>
              <a:rPr lang="ru-RU" b="1" dirty="0" smtClean="0">
                <a:solidFill>
                  <a:srgbClr val="FF0000"/>
                </a:solidFill>
                <a:ea typeface="Times New Roman" pitchFamily="18" charset="0"/>
                <a:cs typeface="Times New Roman" pitchFamily="18" charset="0"/>
              </a:rPr>
              <a:t>«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амый актуальный проект</a:t>
            </a:r>
            <a:r>
              <a:rPr lang="ru-RU" b="1" dirty="0" smtClean="0">
                <a:solidFill>
                  <a:srgbClr val="FF0000"/>
                </a:solidFill>
                <a:ea typeface="Times New Roman" pitchFamily="18" charset="0"/>
                <a:cs typeface="Times New Roman" pitchFamily="18" charset="0"/>
              </a:rPr>
              <a:t>» - 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Максим Славков. </a:t>
            </a: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Максим предлагает использование автомодели для перемещения рыбаков и охотников, а также для проезда специалистам нефтяной отрасли к труднодоступным местам.</a:t>
            </a: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 smtClean="0"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иплом  «Социально-значимый проект» - Артем </a:t>
            </a:r>
            <a:r>
              <a:rPr lang="ru-RU" b="1" dirty="0" err="1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Еленчук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. </a:t>
            </a: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ртём предлагает модель автомобиля для автоматической перевозки животных на пастбище и обратно.</a:t>
            </a: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 smtClean="0"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иплом «Самый реалистичный проект» - Николай Миронов.</a:t>
            </a: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Николай создал модель </a:t>
            </a:r>
            <a:r>
              <a:rPr lang="ru-RU" dirty="0" smtClean="0">
                <a:ea typeface="Times New Roman" pitchFamily="18" charset="0"/>
                <a:cs typeface="Times New Roman" pitchFamily="18" charset="0"/>
              </a:rPr>
              <a:t>–</a:t>
            </a:r>
            <a:r>
              <a:rPr lang="ru-RU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эковеломобиль</a:t>
            </a:r>
            <a:r>
              <a:rPr lang="ru-RU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и предлагает его использование для перемещения по населенному пункту в целях защиты от насекомых, пыли, дождя, ветра и других погодных явлений. 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73792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000232" y="357166"/>
            <a:ext cx="5143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ДОСТИЖЕНИЯ  И РЕЗУЛЬТАТЫ ПРОЕКТА </a:t>
            </a:r>
          </a:p>
          <a:p>
            <a:pPr algn="ctr" eaLnBrk="0" hangingPunct="0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(п. </a:t>
            </a:r>
            <a:r>
              <a:rPr lang="ru-RU" sz="1400" b="1" dirty="0" err="1" smtClean="0">
                <a:latin typeface="Times New Roman" pitchFamily="18" charset="0"/>
                <a:cs typeface="Times New Roman" pitchFamily="18" charset="0"/>
              </a:rPr>
              <a:t>Горноправдинск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)  </a:t>
            </a:r>
            <a:endParaRPr lang="ru-RU" dirty="0"/>
          </a:p>
        </p:txBody>
      </p:sp>
      <p:sp>
        <p:nvSpPr>
          <p:cNvPr id="25601" name="Rectangle 1"/>
          <p:cNvSpPr>
            <a:spLocks noChangeArrowheads="1"/>
          </p:cNvSpPr>
          <p:nvPr/>
        </p:nvSpPr>
        <p:spPr bwMode="auto">
          <a:xfrm>
            <a:off x="142844" y="857232"/>
            <a:ext cx="9156161" cy="4955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ебята из п. </a:t>
            </a:r>
            <a:r>
              <a:rPr lang="ru-RU" sz="1400" dirty="0" err="1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Горноправдинск</a:t>
            </a: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создали три модели автомобилей.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 err="1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втопроект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«Кузнечик» </a:t>
            </a: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- специальная машина, которая  обладает более лучшей проходимостью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условиях Крайнего Севера и новыми функциями.  Модель представлена новым дизайном и новой ходовой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частью, дополнительно выдвигаются две опоры лыж на грунте. По мнению ребят, автомобиль будет  успешно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остребован и продаваться в нефтяной промышленности, геологоразведки и т.д.;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 err="1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втопроект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«ПМБО -2030»</a:t>
            </a:r>
            <a:r>
              <a:rPr lang="ru-RU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 </a:t>
            </a: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– перерабатывающая машина бытовых отходов. Предназначена для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бора и сортировки мусора и бытовых отходов. Внутри корпуса устанавливается специальное оборудование,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торое при помощи специальных датчиков будет сортировать мусор по контейнерам и прессовать в брикеты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ля  вторичной переработки (металл к металлу, стекло к стеклу, пластик к пластику и т.д., а пищевые отходы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ерерабатываются в удобрение для сельского хозяйства).Место общепринятого сжигания или закапывания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мусора, эта машина позволит перерабатывать использованные материалы повторно, это очень важно для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экологии нашего края и страны. Рассортированное вторичное сырье отправляется на соответствующие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заводы для производства изделий из пластика, металла, бумаги, и т.д.;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b="1" dirty="0" smtClean="0">
              <a:solidFill>
                <a:srgbClr val="FF0000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 err="1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втопроект</a:t>
            </a:r>
            <a:r>
              <a:rPr lang="ru-RU" sz="1400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«СУЗ -17» </a:t>
            </a: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– снегоуборочный завод. Предназначен для уборки снега с дорог общего пользования.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дея заключается в том, что эта техника не просто убирает снег с дороги, который вывозится самосвалами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специальные места, где потом ничего не может вырасти много лет из за большого количества соли на наших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дорогах, а перерабатывается нашим мини «заводом» на техническую  воду для нужд  любого производства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где есть необходимость в такой воде, а «соль» и песок, оставшийся после выпаривания и очистки воды </a:t>
            </a:r>
          </a:p>
          <a:p>
            <a:pPr lvl="0" indent="4492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дёт повторно для посыпки дорог.</a:t>
            </a: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73792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000232" y="357166"/>
            <a:ext cx="5143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ОДОЛЖЕНИЕ ПРОЕКТА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00034" y="889845"/>
            <a:ext cx="8286808" cy="4370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1. В </a:t>
            </a:r>
            <a:r>
              <a:rPr lang="ru-RU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мках объединений дополнительного образования технической направленности «Автомоделизм», «</a:t>
            </a:r>
            <a:r>
              <a:rPr lang="ru-RU" dirty="0" err="1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Байтик</a:t>
            </a:r>
            <a:r>
              <a:rPr lang="ru-RU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» (робототехника) и другие  с целью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вовлечения обучающихся в инженерно-конструкторскую и исследовательскую деятельность в различных областях, создание условий для выявления талантливых детей по направлению технического творчества и создание для них системы мотивации и дальнейшего сопровождения в области подготовки будущих специалистов в технической сфере. </a:t>
            </a: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  <a:buAutoNum type="arabicPeriod"/>
            </a:pPr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2. Организация профильных лагерных смен технической направленности с целью ф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рмирования муниципальной инновационной практико-ориентированной образовательной среды, обеспечивающей доступность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ополнительного образования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етей  технической направленности,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ривлечение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бучающихся к изучению и практическому освоению основ  инженерных специальностей на основе интеграции педагогических, материально-технических, информационных и производственных ресурсов области. </a:t>
            </a: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 smtClean="0"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73792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097" name="Rectangle 1"/>
          <p:cNvSpPr>
            <a:spLocks noChangeArrowheads="1"/>
          </p:cNvSpPr>
          <p:nvPr/>
        </p:nvSpPr>
        <p:spPr bwMode="auto">
          <a:xfrm>
            <a:off x="285720" y="357166"/>
            <a:ext cx="8215370" cy="415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400" b="1" dirty="0" smtClean="0">
                <a:solidFill>
                  <a:srgbClr val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ЦЕЛЬ ПРОЕКТА: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оздание условий для развития технических и творческих способностей детей. Формирование системного и целостного представления о современном автопромышленном комплексе как одной из сфер занятости и типе организации человеческой практики, с самоопределением обучающихся к нему как к сфере собственной работы в </a:t>
            </a: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течении </a:t>
            </a: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жизни и с формированием собственных стратегий и проектов в рамках этой отрасли.</a:t>
            </a:r>
            <a:endParaRPr kumimoji="0" lang="ru-RU" sz="2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7" name="Рисунок 6" descr="C:\Users\скат\Desktop\АВТОЗАВОД БУДУЩЕГО\ФОТО С СТАТЬЕ\IMG_6543_result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29256" y="4643446"/>
            <a:ext cx="2900776" cy="1479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573792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073" name="Rectangle 1"/>
          <p:cNvSpPr>
            <a:spLocks noChangeArrowheads="1"/>
          </p:cNvSpPr>
          <p:nvPr/>
        </p:nvSpPr>
        <p:spPr bwMode="auto">
          <a:xfrm>
            <a:off x="642910" y="571480"/>
            <a:ext cx="8215370" cy="5570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ЗАДАЧИ</a:t>
            </a:r>
            <a:r>
              <a:rPr lang="ru-RU" sz="2800" b="1" baseline="0" dirty="0" smtClean="0">
                <a:solidFill>
                  <a:srgbClr val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: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формировать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 удерживать познавательный и исследовательский интерес к автопромышленному комплексу как к профессиональной сфере и практической деятельности, на протяжении реализации образовательной программы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беспечить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знакомство с основными приёмами, принципами, задачами и проблемами современного "</a:t>
            </a:r>
            <a:r>
              <a:rPr kumimoji="0" 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втопрома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" и "Машиностроения", а также наиболее вероятными тенденциями и способами модернизации производства (по средствам организации собственной исследовательской деятельности обучающихся на основе потребностей региона в том или ином виде транспортно-технологических машин)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оздать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условия для собственной пробно-проектной деятельности в сфере конструкторско-технологических разработок, включающих в себя постановку задачи, исходящей из реальных потребностей производственного процесса, анализ имеющихся технологических возможностей, установка последовательности действий и системы условий для решения поставленных задач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оздать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едагогические условия для оформления полученного опыта и применяемых схем организации деятельности с последующим самоопределением к профессиям автопромышленного комплекса как к собственной профессиональной деятельности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- Побудить к изучению дополнительной информации о маркетинге, менеджменте в сфере автопромышленной индустрии и машиностроительного комплекса, инженерной деятельности и конкретных инженерных разработках, истории ТТМ, перспективы развития в плане </a:t>
            </a:r>
            <a:r>
              <a:rPr kumimoji="0" 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оботификации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и автоматизации ТТМ.   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73792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0034" y="1285860"/>
            <a:ext cx="3857652" cy="2286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10"/>
          <p:cNvSpPr>
            <a:spLocks noChangeArrowheads="1"/>
          </p:cNvSpPr>
          <p:nvPr/>
        </p:nvSpPr>
        <p:spPr bwMode="auto">
          <a:xfrm>
            <a:off x="1571604" y="214290"/>
            <a:ext cx="6072217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Организация профильного лагеря технической направленности «Автозавод будущего» </a:t>
            </a: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.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Горноправдинск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) 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" name="Picture 2" descr="C:\Users\МКОУ ДОД ЦДП\Desktop\АВТОЗАВОД БУДУЩЕГО\Фото и видео с автозавода\21,06,17\IMG_708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4876" y="3929066"/>
            <a:ext cx="3834789" cy="2556525"/>
          </a:xfrm>
          <a:prstGeom prst="rect">
            <a:avLst/>
          </a:prstGeom>
          <a:noFill/>
        </p:spPr>
      </p:pic>
      <p:pic>
        <p:nvPicPr>
          <p:cNvPr id="17412" name="Picture 4" descr="C:\Users\скат\Desktop\ЛАГЕРЯ 2017\АВТОЗАВОД БУДУЩЕГО\Закрытие и презентации проектов ГОРНОПРАВДИНСК\КБ-1 технологии будущего\Сжатые фото для фильма\IMG_7048_result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502542" y="-5429312"/>
            <a:ext cx="49377600" cy="32918400"/>
          </a:xfrm>
          <a:prstGeom prst="rect">
            <a:avLst/>
          </a:prstGeom>
          <a:noFill/>
        </p:spPr>
      </p:pic>
      <p:pic>
        <p:nvPicPr>
          <p:cNvPr id="12" name="Рисунок 11"/>
          <p:cNvPicPr/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00034" y="3929066"/>
            <a:ext cx="4000528" cy="2503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Рисунок 13" descr="C:\Users\скат\Desktop\ЛАГЕРЯ 2017\АВТОЗАВОД БУДУЩЕГО\Закрытие и презентации проектов ГОРНОПРАВДИНСК\КБ-1 технологии будущего\Сжатые фото для фильма\IMG_7048_result.JP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86314" y="1285860"/>
            <a:ext cx="3786214" cy="23574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573792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10"/>
          <p:cNvSpPr>
            <a:spLocks noChangeArrowheads="1"/>
          </p:cNvSpPr>
          <p:nvPr/>
        </p:nvSpPr>
        <p:spPr bwMode="auto">
          <a:xfrm>
            <a:off x="1571604" y="285728"/>
            <a:ext cx="6072217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Организация профильного лагеря технической направленности «Автозавод будущего» </a:t>
            </a: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(п.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Луговской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) 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 descr="C:\Users\скат\Desktop\ЛАГЕРЯ 2017\АВТОЗАВОД БУДУЩЕГО\ОТЧЕТ О РЕАЛИЗАЦИИ ПРОЕКТА\ФОТО С СТАТЬЕ\DSC_0194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596" y="1285860"/>
            <a:ext cx="3962711" cy="2624682"/>
          </a:xfrm>
          <a:prstGeom prst="rect">
            <a:avLst/>
          </a:prstGeom>
          <a:noFill/>
        </p:spPr>
      </p:pic>
      <p:pic>
        <p:nvPicPr>
          <p:cNvPr id="9" name="Рисунок 8" descr="C:\Users\скат\Desktop\АВТОЗАВОД БУДУЩЕГО\ЛЕТО 2017\автозавод\Защита проектов\DSC_0705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7158" y="4000504"/>
            <a:ext cx="4000528" cy="2500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3" descr="C:\Users\скат\Desktop\ЛАГЕРЯ 2017\АВТОЗАВОД БУДУЩЕГО\ОТЧЕТ О РЕАЛИЗАЦИИ ПРОЕКТА\ФОТО С СТАТЬЕ\DSC_070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00562" y="4286256"/>
            <a:ext cx="4240213" cy="2114053"/>
          </a:xfrm>
          <a:prstGeom prst="rect">
            <a:avLst/>
          </a:prstGeom>
          <a:noFill/>
        </p:spPr>
      </p:pic>
      <p:pic>
        <p:nvPicPr>
          <p:cNvPr id="18434" name="Picture 2" descr="C:\Users\скат\Desktop\ЛАГЕРЯ 2017\АВТОЗАВОД БУДУЩЕГО\ЛЕТО 2017\автозавод\фото с машинами\DSC_0259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43504" y="1285860"/>
            <a:ext cx="3071834" cy="28800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573792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4"/>
          <p:cNvSpPr>
            <a:spLocks noChangeArrowheads="1"/>
          </p:cNvSpPr>
          <p:nvPr/>
        </p:nvSpPr>
        <p:spPr bwMode="auto">
          <a:xfrm>
            <a:off x="2071670" y="285728"/>
            <a:ext cx="51435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ru-RU" sz="1400" b="1">
                <a:latin typeface="Times New Roman" pitchFamily="18" charset="0"/>
                <a:cs typeface="Times New Roman" pitchFamily="18" charset="0"/>
              </a:rPr>
              <a:t>АВТОПРОЕКТЫ РЕБЯТ ИЗ П. ГОРНОПРАВДИНСК</a:t>
            </a:r>
            <a:endParaRPr lang="ru-RU" sz="600" b="1"/>
          </a:p>
          <a:p>
            <a:pPr eaLnBrk="0" hangingPunct="0"/>
            <a:endParaRPr lang="ru-RU"/>
          </a:p>
        </p:txBody>
      </p:sp>
      <p:pic>
        <p:nvPicPr>
          <p:cNvPr id="15363" name="Рисунок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00628" y="1142984"/>
            <a:ext cx="3600450" cy="228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4" name="Rectangle 5"/>
          <p:cNvSpPr>
            <a:spLocks noChangeArrowheads="1"/>
          </p:cNvSpPr>
          <p:nvPr/>
        </p:nvSpPr>
        <p:spPr bwMode="auto">
          <a:xfrm>
            <a:off x="0" y="45720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endParaRPr lang="ru-RU"/>
          </a:p>
        </p:txBody>
      </p:sp>
      <p:pic>
        <p:nvPicPr>
          <p:cNvPr id="15365" name="Рисунок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71538" y="1142984"/>
            <a:ext cx="3357563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6" name="Рисунок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20487" y="4071942"/>
            <a:ext cx="3551489" cy="2071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7" name="Рисунок 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072066" y="4071943"/>
            <a:ext cx="3500438" cy="2071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8" name="Прямоугольник 9"/>
          <p:cNvSpPr>
            <a:spLocks noChangeArrowheads="1"/>
          </p:cNvSpPr>
          <p:nvPr/>
        </p:nvSpPr>
        <p:spPr bwMode="auto">
          <a:xfrm>
            <a:off x="1285852" y="3571876"/>
            <a:ext cx="309403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b="1" dirty="0" err="1">
                <a:latin typeface="Times New Roman" pitchFamily="18" charset="0"/>
                <a:cs typeface="Times New Roman" pitchFamily="18" charset="0"/>
              </a:rPr>
              <a:t>Автопроект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 «ПМБО -2030»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15369" name="Прямоугольник 10"/>
          <p:cNvSpPr>
            <a:spLocks noChangeArrowheads="1"/>
          </p:cNvSpPr>
          <p:nvPr/>
        </p:nvSpPr>
        <p:spPr bwMode="auto">
          <a:xfrm>
            <a:off x="2714612" y="571480"/>
            <a:ext cx="38973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Снегоуборочный завод «СУЗ-2017»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15370" name="Rectangle 6"/>
          <p:cNvSpPr>
            <a:spLocks noChangeArrowheads="1"/>
          </p:cNvSpPr>
          <p:nvPr/>
        </p:nvSpPr>
        <p:spPr bwMode="auto">
          <a:xfrm>
            <a:off x="4857752" y="3643314"/>
            <a:ext cx="40005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ru-RU" b="1" dirty="0" err="1">
                <a:latin typeface="Times New Roman" pitchFamily="18" charset="0"/>
                <a:cs typeface="Times New Roman" pitchFamily="18" charset="0"/>
              </a:rPr>
              <a:t>Автопроект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>
                <a:latin typeface="Calibri" pitchFamily="34" charset="0"/>
                <a:cs typeface="Times New Roman" pitchFamily="18" charset="0"/>
              </a:rPr>
              <a:t>«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КУЗНЕЧИК</a:t>
            </a:r>
            <a:r>
              <a:rPr lang="ru-RU" b="1" dirty="0">
                <a:latin typeface="Calibri" pitchFamily="34" charset="0"/>
                <a:cs typeface="Times New Roman" pitchFamily="18" charset="0"/>
              </a:rPr>
              <a:t>»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/>
          </a:p>
        </p:txBody>
      </p:sp>
    </p:spTree>
  </p:cSld>
  <p:clrMapOvr>
    <a:masterClrMapping/>
  </p:clrMapOvr>
  <p:transition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4"/>
          <p:cNvSpPr>
            <a:spLocks noChangeArrowheads="1"/>
          </p:cNvSpPr>
          <p:nvPr/>
        </p:nvSpPr>
        <p:spPr bwMode="auto">
          <a:xfrm>
            <a:off x="2143108" y="357166"/>
            <a:ext cx="51435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АВТОПРОЕКТЫ РЕБЯТ ИЗ П. ЛУГОВСКОЙ</a:t>
            </a:r>
            <a:endParaRPr lang="ru-RU" sz="600" b="1" dirty="0"/>
          </a:p>
          <a:p>
            <a:pPr eaLnBrk="0" hangingPunct="0"/>
            <a:endParaRPr lang="ru-RU" dirty="0"/>
          </a:p>
        </p:txBody>
      </p:sp>
      <p:sp>
        <p:nvSpPr>
          <p:cNvPr id="16387" name="Rectangle 5"/>
          <p:cNvSpPr>
            <a:spLocks noChangeArrowheads="1"/>
          </p:cNvSpPr>
          <p:nvPr/>
        </p:nvSpPr>
        <p:spPr bwMode="auto">
          <a:xfrm>
            <a:off x="0" y="45720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endParaRPr lang="ru-RU"/>
          </a:p>
        </p:txBody>
      </p:sp>
      <p:pic>
        <p:nvPicPr>
          <p:cNvPr id="16388" name="Рисунок 10" descr="C:\Users\скат\Desktop\АВТОЗАВОД БУДУЩЕГО\ЛЕТО 2017\автозавод\Защита проектов\IMG_064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71538" y="1285860"/>
            <a:ext cx="3360737" cy="224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9" name="Рисунок 11" descr="C:\Users\скат\Desktop\АВТОЗАВОД БУДУЩЕГО\ЛЕТО 2017\автозавод\4 отдел робототизации\DSC_0513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14942" y="1285860"/>
            <a:ext cx="3463925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1" name="Рисунок 14" descr="C:\Users\скат\Desktop\АВТОЗАВОД БУДУЩЕГО\ЛЕТО 2017\автозавод\Защита проектов\DSC_0514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214942" y="4071942"/>
            <a:ext cx="3500437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2" name="Rectangle 1"/>
          <p:cNvSpPr>
            <a:spLocks noChangeArrowheads="1"/>
          </p:cNvSpPr>
          <p:nvPr/>
        </p:nvSpPr>
        <p:spPr bwMode="auto">
          <a:xfrm>
            <a:off x="4643438" y="785794"/>
            <a:ext cx="40005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indent="452438" algn="ctr" eaLnBrk="0" hangingPunct="0"/>
            <a:r>
              <a:rPr lang="ru-RU" b="1" dirty="0">
                <a:latin typeface="Times New Roman" pitchFamily="18" charset="0"/>
                <a:cs typeface="Times New Roman" pitchFamily="18" charset="0"/>
              </a:rPr>
              <a:t>Автобус </a:t>
            </a:r>
            <a:r>
              <a:rPr lang="ru-RU" b="1" dirty="0">
                <a:latin typeface="Calibri" pitchFamily="34" charset="0"/>
                <a:cs typeface="Times New Roman" pitchFamily="18" charset="0"/>
              </a:rPr>
              <a:t>«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ссиопея</a:t>
            </a:r>
            <a:r>
              <a:rPr lang="ru-RU" b="1" dirty="0">
                <a:latin typeface="Calibri" pitchFamily="34" charset="0"/>
                <a:cs typeface="Times New Roman" pitchFamily="18" charset="0"/>
              </a:rPr>
              <a:t>»</a:t>
            </a:r>
            <a:endParaRPr lang="ru-RU" dirty="0"/>
          </a:p>
        </p:txBody>
      </p:sp>
      <p:sp>
        <p:nvSpPr>
          <p:cNvPr id="16393" name="Rectangle 1"/>
          <p:cNvSpPr>
            <a:spLocks noChangeArrowheads="1"/>
          </p:cNvSpPr>
          <p:nvPr/>
        </p:nvSpPr>
        <p:spPr bwMode="auto">
          <a:xfrm>
            <a:off x="714348" y="714356"/>
            <a:ext cx="38576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indent="452438" algn="ctr" eaLnBrk="0" hangingPunct="0"/>
            <a:r>
              <a:rPr lang="ru-RU" b="1" dirty="0" err="1">
                <a:latin typeface="Times New Roman" pitchFamily="18" charset="0"/>
                <a:cs typeface="Times New Roman" pitchFamily="18" charset="0"/>
              </a:rPr>
              <a:t>Автопроект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 «Дом на колесах»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394" name="Rectangle 1"/>
          <p:cNvSpPr>
            <a:spLocks noChangeArrowheads="1"/>
          </p:cNvSpPr>
          <p:nvPr/>
        </p:nvSpPr>
        <p:spPr bwMode="auto">
          <a:xfrm>
            <a:off x="4929190" y="3714752"/>
            <a:ext cx="40005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indent="452438" algn="ctr" eaLnBrk="0" hangingPunct="0"/>
            <a:r>
              <a:rPr lang="ru-RU" b="1" dirty="0" err="1">
                <a:latin typeface="Times New Roman" pitchFamily="18" charset="0"/>
                <a:cs typeface="Times New Roman" pitchFamily="18" charset="0"/>
              </a:rPr>
              <a:t>Эковеломобиль</a:t>
            </a:r>
            <a:endParaRPr lang="ru-RU" dirty="0"/>
          </a:p>
        </p:txBody>
      </p:sp>
      <p:pic>
        <p:nvPicPr>
          <p:cNvPr id="11" name="Рисунок 12" descr="C:\Users\скат\Desktop\АВТОЗАВОД БУДУЩЕГО\ЛЕТО 2017\автозавод\4 отдел робототизации\DSC_053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71538" y="4000504"/>
            <a:ext cx="3357586" cy="2378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randomBar dir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4"/>
          <p:cNvSpPr>
            <a:spLocks noChangeArrowheads="1"/>
          </p:cNvSpPr>
          <p:nvPr/>
        </p:nvSpPr>
        <p:spPr bwMode="auto">
          <a:xfrm>
            <a:off x="2000232" y="357166"/>
            <a:ext cx="51435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ЗАЩИТА ПРОЕКТОВ </a:t>
            </a:r>
            <a:endParaRPr lang="ru-RU" dirty="0"/>
          </a:p>
        </p:txBody>
      </p:sp>
      <p:sp>
        <p:nvSpPr>
          <p:cNvPr id="17411" name="Rectangle 5"/>
          <p:cNvSpPr>
            <a:spLocks noChangeArrowheads="1"/>
          </p:cNvSpPr>
          <p:nvPr/>
        </p:nvSpPr>
        <p:spPr bwMode="auto">
          <a:xfrm>
            <a:off x="0" y="45720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endParaRPr lang="ru-RU"/>
          </a:p>
        </p:txBody>
      </p:sp>
      <p:pic>
        <p:nvPicPr>
          <p:cNvPr id="17412" name="Рисунок 8" descr="C:\Users\скат\Desktop\АВТОЗАВОД БУДУЩЕГО\ЛЕТО 2017\автозавод\Защита проектов\DSC_062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00100" y="857232"/>
            <a:ext cx="3487737" cy="231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3" name="Рисунок 9" descr="C:\Users\скат\Desktop\АВТОЗАВОД БУДУЩЕГО\ЛЕТО 2017\автозавод\Защита проектов\DSC_0610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86748" y="857232"/>
            <a:ext cx="3757193" cy="2357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4" name="Рисунок 10" descr="C:\Users\скат\Desktop\АВТОЗАВОД БУДУЩЕГО\ЛЕТО 2017\автозавод\Защита проектов\IMG_0627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17256" y="3571876"/>
            <a:ext cx="3798148" cy="2071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5" name="Рисунок 11" descr="C:\Users\скат\Desktop\АВТОЗАВОД БУДУЩЕГО\ЛЕТО 2017\автозавод\Защита проектов\DSC_0606 — копия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28662" y="3500439"/>
            <a:ext cx="3500462" cy="2222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randomBar dir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4"/>
          <p:cNvSpPr>
            <a:spLocks noChangeArrowheads="1"/>
          </p:cNvSpPr>
          <p:nvPr/>
        </p:nvSpPr>
        <p:spPr bwMode="auto">
          <a:xfrm>
            <a:off x="2000232" y="357166"/>
            <a:ext cx="51435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ЗАЩИТА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ОЕКТОВ   </a:t>
            </a:r>
            <a:endParaRPr lang="ru-RU" dirty="0"/>
          </a:p>
        </p:txBody>
      </p:sp>
      <p:sp>
        <p:nvSpPr>
          <p:cNvPr id="17411" name="Rectangle 5"/>
          <p:cNvSpPr>
            <a:spLocks noChangeArrowheads="1"/>
          </p:cNvSpPr>
          <p:nvPr/>
        </p:nvSpPr>
        <p:spPr bwMode="auto">
          <a:xfrm>
            <a:off x="0" y="45720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endParaRPr lang="ru-RU"/>
          </a:p>
        </p:txBody>
      </p:sp>
      <p:pic>
        <p:nvPicPr>
          <p:cNvPr id="9" name="Рисунок 8" descr="C:\Users\скат\Desktop\ЛАГЕРЯ 2017\АВТОЗАВОД БУДУЩЕГО\ОТЧЕТ О РЕАЛИЗАЦИИ ПРОЕКТА\ФОТО С СТАТЬЕ\IMG_7195_result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4348" y="785794"/>
            <a:ext cx="3800475" cy="2533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 descr="C:\Users\скат\Desktop\ЛАГЕРЯ 2017\АВТОЗАВОД БУДУЩЕГО\ОТЧЕТ О РЕАЛИЗАЦИИ ПРОЕКТА\ФОТО С СТАТЬЕ\IMG_7200_result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86314" y="785794"/>
            <a:ext cx="3786214" cy="2500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Рисунок 12" descr="C:\Users\скат\Desktop\ЛАГЕРЯ 2017\АВТОЗАВОД БУДУЩЕГО\ОТЧЕТ О РЕАЛИЗАЦИИ ПРОЕКТА\ФОТО С СТАТЬЕ\IMG_7214_result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86314" y="3786190"/>
            <a:ext cx="3857652" cy="2357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Рисунок 13" descr="C:\Users\скат\Desktop\ЛАГЕРЯ 2017\АВТОЗАВОД БУДУЩЕГО\ОТЧЕТ О РЕАЛИЗАЦИИ ПРОЕКТА\ФОТО С СТАТЬЕ\IMG_7215_result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2910" y="3786190"/>
            <a:ext cx="3786214" cy="242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randomBar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ohBtnLt0GnxZarLCXD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ebioKON0aqqJTEH9BK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CiP6Yk2UmLazKQUq29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QShwEr9UaMj8pB50xJ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_Z1WZsqk.YtvNe2Qb.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PjSutFsE2u08okwN5O_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2</TotalTime>
  <Words>934</Words>
  <Application>Microsoft Office PowerPoint</Application>
  <PresentationFormat>Экран (4:3)</PresentationFormat>
  <Paragraphs>98</Paragraphs>
  <Slides>14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1_Тема Office</vt:lpstr>
      <vt:lpstr>think-cell Slide</vt:lpstr>
      <vt:lpstr>Дополнительная общеобразовательная программа  «АВТОЗАВОД БУДУЩЕГО»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 О РЕАЛИЗАЦИИ ПРОГРАММЫ СОЦИАЛЬНЫХ ИНВЕСТИЦИЙ  ЗА 2014 ГОД</dc:title>
  <dc:creator>Тюлюков Михаил</dc:creator>
  <cp:lastModifiedBy>скат</cp:lastModifiedBy>
  <cp:revision>42</cp:revision>
  <dcterms:created xsi:type="dcterms:W3CDTF">2014-09-25T10:18:54Z</dcterms:created>
  <dcterms:modified xsi:type="dcterms:W3CDTF">2017-12-26T09:24:09Z</dcterms:modified>
</cp:coreProperties>
</file>